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5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74" r:id="rId5"/>
    <p:sldMasterId id="2147483679" r:id="rId6"/>
    <p:sldMasterId id="2147483683" r:id="rId7"/>
    <p:sldMasterId id="2147483687" r:id="rId8"/>
  </p:sldMasterIdLst>
  <p:notesMasterIdLst>
    <p:notesMasterId r:id="rId15"/>
  </p:notesMasterIdLst>
  <p:handoutMasterIdLst>
    <p:handoutMasterId r:id="rId16"/>
  </p:handoutMasterIdLst>
  <p:sldIdLst>
    <p:sldId id="1042" r:id="rId9"/>
    <p:sldId id="257" r:id="rId10"/>
    <p:sldId id="1325" r:id="rId11"/>
    <p:sldId id="1332" r:id="rId12"/>
    <p:sldId id="1387" r:id="rId13"/>
    <p:sldId id="1388" r:id="rId14"/>
  </p:sldIdLst>
  <p:sldSz cx="12192000" cy="6858000"/>
  <p:notesSz cx="6797675" cy="9926638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  <p15:guide id="5" orient="horz" pos="3075">
          <p15:clr>
            <a:srgbClr val="A4A3A4"/>
          </p15:clr>
        </p15:guide>
        <p15:guide id="6" orient="horz" pos="3127">
          <p15:clr>
            <a:srgbClr val="A4A3A4"/>
          </p15:clr>
        </p15:guide>
        <p15:guide id="7" pos="2094">
          <p15:clr>
            <a:srgbClr val="A4A3A4"/>
          </p15:clr>
        </p15:guide>
        <p15:guide id="8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dministrator" initials="A" lastIdx="1" clrIdx="0"/>
  <p:cmAuthor id="1" name="Murat COŞAR (Devops)" initials="MC(" lastIdx="1" clrIdx="1">
    <p:extLst>
      <p:ext uri="{19B8F6BF-5375-455C-9EA6-DF929625EA0E}">
        <p15:presenceInfo xmlns:p15="http://schemas.microsoft.com/office/powerpoint/2012/main" userId="S-1-5-21-484763869-57989841-725345543-28387" providerId="AD"/>
      </p:ext>
    </p:extLst>
  </p:cmAuthor>
  <p:cmAuthor id="2" name="Elif SAVAŞ (Bankacılık Dışı Uygulamalar 5)" initials="ES(DU5" lastIdx="1" clrIdx="2">
    <p:extLst>
      <p:ext uri="{19B8F6BF-5375-455C-9EA6-DF929625EA0E}">
        <p15:presenceInfo xmlns:p15="http://schemas.microsoft.com/office/powerpoint/2012/main" userId="S-1-5-21-484763869-57989841-725345543-22900" providerId="AD"/>
      </p:ext>
    </p:extLst>
  </p:cmAuthor>
  <p:cmAuthor id="3" name="Emre YEVGİ (Süreç ve Kalite Yönetimi)" initials="EY(vKY" lastIdx="2" clrIdx="3">
    <p:extLst>
      <p:ext uri="{19B8F6BF-5375-455C-9EA6-DF929625EA0E}">
        <p15:presenceInfo xmlns:p15="http://schemas.microsoft.com/office/powerpoint/2012/main" userId="S-1-5-21-484763869-57989841-725345543-300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3B62"/>
    <a:srgbClr val="FFFF66"/>
    <a:srgbClr val="669900"/>
    <a:srgbClr val="F8F8F8"/>
    <a:srgbClr val="F717CC"/>
    <a:srgbClr val="F46688"/>
    <a:srgbClr val="4F81BD"/>
    <a:srgbClr val="336600"/>
    <a:srgbClr val="385D8A"/>
    <a:srgbClr val="47D9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Stil Yok, Tablo Kılavuz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E3FDE45-AF77-4B5C-9715-49D594BDF05E}" styleName="Açık Stil 1 - Vurgu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Orta Stil 1 - Vurgu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C2FFA5D-87B4-456A-9821-1D502468CF0F}" styleName="Tema Uygulanmış Stil 1 - Vurgu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ema Uygulanmış Stil 1 - Vurgu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1E4AEA4-8DFA-4A89-87EB-49C32662AFE0}" styleName="Orta Stil 2 - Vurgu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Açık Stil 2 - Vurgu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DF18680-E054-41AD-8BC1-D1AEF772440D}" styleName="Orta Stil 2 - Vurgu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Açık Stil 2 - Vurgu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3" autoAdjust="0"/>
    <p:restoredTop sz="94424" autoAdjust="0"/>
  </p:normalViewPr>
  <p:slideViewPr>
    <p:cSldViewPr>
      <p:cViewPr varScale="1">
        <p:scale>
          <a:sx n="78" d="100"/>
          <a:sy n="78" d="100"/>
        </p:scale>
        <p:origin x="488" y="6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657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-28939"/>
    </p:cViewPr>
  </p:sorterViewPr>
  <p:notesViewPr>
    <p:cSldViewPr>
      <p:cViewPr varScale="1">
        <p:scale>
          <a:sx n="62" d="100"/>
          <a:sy n="62" d="100"/>
        </p:scale>
        <p:origin x="3240" y="67"/>
      </p:cViewPr>
      <p:guideLst>
        <p:guide orient="horz" pos="2880"/>
        <p:guide pos="2160"/>
        <p:guide orient="horz" pos="2928"/>
        <p:guide pos="2208"/>
        <p:guide orient="horz" pos="3075"/>
        <p:guide orient="horz" pos="3127"/>
        <p:guide pos="2094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996417-EBC7-4F0C-A8E3-338928D21B61}" type="doc">
      <dgm:prSet loTypeId="urn:microsoft.com/office/officeart/2005/8/layout/arrow2" loCatId="process" qsTypeId="urn:microsoft.com/office/officeart/2005/8/quickstyle/simple5" qsCatId="simple" csTypeId="urn:microsoft.com/office/officeart/2005/8/colors/accent2_2" csCatId="accent2" phldr="1"/>
      <dgm:spPr/>
    </dgm:pt>
    <dgm:pt modelId="{F3B00D6F-B89C-4D5C-B467-264D028B7E4F}">
      <dgm:prSet phldrT="[Text]" custT="1"/>
      <dgm:spPr/>
      <dgm:t>
        <a:bodyPr/>
        <a:lstStyle/>
        <a:p>
          <a:endParaRPr lang="tr-TR" sz="3600" b="1" dirty="0"/>
        </a:p>
      </dgm:t>
    </dgm:pt>
    <dgm:pt modelId="{A15D317D-CA17-40C4-8DA1-A13D5449EC1D}" type="parTrans" cxnId="{C14A67B8-AAEF-4750-826B-8C8026AF3F27}">
      <dgm:prSet/>
      <dgm:spPr/>
      <dgm:t>
        <a:bodyPr/>
        <a:lstStyle/>
        <a:p>
          <a:endParaRPr lang="tr-TR" sz="1000" b="1"/>
        </a:p>
      </dgm:t>
    </dgm:pt>
    <dgm:pt modelId="{E44EF9EC-6A21-46C3-93AA-E47FC9944461}" type="sibTrans" cxnId="{C14A67B8-AAEF-4750-826B-8C8026AF3F27}">
      <dgm:prSet/>
      <dgm:spPr/>
      <dgm:t>
        <a:bodyPr/>
        <a:lstStyle/>
        <a:p>
          <a:endParaRPr lang="tr-TR" sz="1000" b="1"/>
        </a:p>
      </dgm:t>
    </dgm:pt>
    <dgm:pt modelId="{C8B494FA-7452-4771-AC63-78C304FF63AF}" type="pres">
      <dgm:prSet presAssocID="{F7996417-EBC7-4F0C-A8E3-338928D21B61}" presName="arrowDiagram" presStyleCnt="0">
        <dgm:presLayoutVars>
          <dgm:chMax val="5"/>
          <dgm:dir/>
          <dgm:resizeHandles val="exact"/>
        </dgm:presLayoutVars>
      </dgm:prSet>
      <dgm:spPr/>
    </dgm:pt>
    <dgm:pt modelId="{7B03F0F9-00AE-47BE-AB6E-7F0C28B9D66C}" type="pres">
      <dgm:prSet presAssocID="{F7996417-EBC7-4F0C-A8E3-338928D21B61}" presName="arrow" presStyleLbl="bgShp" presStyleIdx="0" presStyleCnt="1" custScaleX="126014" custLinFactNeighborX="-810"/>
      <dgm:spPr/>
    </dgm:pt>
    <dgm:pt modelId="{945F5EDC-0A9C-410D-90DD-B97AFE8F807B}" type="pres">
      <dgm:prSet presAssocID="{F7996417-EBC7-4F0C-A8E3-338928D21B61}" presName="arrowDiagram1" presStyleCnt="0">
        <dgm:presLayoutVars>
          <dgm:bulletEnabled val="1"/>
        </dgm:presLayoutVars>
      </dgm:prSet>
      <dgm:spPr/>
    </dgm:pt>
    <dgm:pt modelId="{215460EE-2E49-4E1E-8764-CBA94B35A5BD}" type="pres">
      <dgm:prSet presAssocID="{F3B00D6F-B89C-4D5C-B467-264D028B7E4F}" presName="bullet1" presStyleLbl="node1" presStyleIdx="0" presStyleCnt="1" custFlipVert="0" custScaleX="84751" custScaleY="68143" custLinFactX="-600000" custLinFactNeighborX="-648860" custLinFactNeighborY="-94362"/>
      <dgm:spPr/>
    </dgm:pt>
    <dgm:pt modelId="{C5994B73-7FBB-4467-A708-C4F5515DEADF}" type="pres">
      <dgm:prSet presAssocID="{F3B00D6F-B89C-4D5C-B467-264D028B7E4F}" presName="textBox1" presStyleLbl="revTx" presStyleIdx="0" presStyleCnt="1" custLinFactX="-67812" custLinFactNeighborX="-100000" custLinFactNeighborY="13475">
        <dgm:presLayoutVars>
          <dgm:bulletEnabled val="1"/>
        </dgm:presLayoutVars>
      </dgm:prSet>
      <dgm:spPr/>
    </dgm:pt>
  </dgm:ptLst>
  <dgm:cxnLst>
    <dgm:cxn modelId="{9999084A-2F57-443E-ABD1-E995865706BF}" type="presOf" srcId="{F7996417-EBC7-4F0C-A8E3-338928D21B61}" destId="{C8B494FA-7452-4771-AC63-78C304FF63AF}" srcOrd="0" destOrd="0" presId="urn:microsoft.com/office/officeart/2005/8/layout/arrow2"/>
    <dgm:cxn modelId="{C14A67B8-AAEF-4750-826B-8C8026AF3F27}" srcId="{F7996417-EBC7-4F0C-A8E3-338928D21B61}" destId="{F3B00D6F-B89C-4D5C-B467-264D028B7E4F}" srcOrd="0" destOrd="0" parTransId="{A15D317D-CA17-40C4-8DA1-A13D5449EC1D}" sibTransId="{E44EF9EC-6A21-46C3-93AA-E47FC9944461}"/>
    <dgm:cxn modelId="{0D0798E5-F5B3-4151-9552-F418D9D45D3C}" type="presOf" srcId="{F3B00D6F-B89C-4D5C-B467-264D028B7E4F}" destId="{C5994B73-7FBB-4467-A708-C4F5515DEADF}" srcOrd="0" destOrd="0" presId="urn:microsoft.com/office/officeart/2005/8/layout/arrow2"/>
    <dgm:cxn modelId="{3A7C1B18-A0C1-4D49-9E8A-99AAF5680579}" type="presParOf" srcId="{C8B494FA-7452-4771-AC63-78C304FF63AF}" destId="{7B03F0F9-00AE-47BE-AB6E-7F0C28B9D66C}" srcOrd="0" destOrd="0" presId="urn:microsoft.com/office/officeart/2005/8/layout/arrow2"/>
    <dgm:cxn modelId="{1C8BD920-A181-4FEF-9AB4-51C343762C3E}" type="presParOf" srcId="{C8B494FA-7452-4771-AC63-78C304FF63AF}" destId="{945F5EDC-0A9C-410D-90DD-B97AFE8F807B}" srcOrd="1" destOrd="0" presId="urn:microsoft.com/office/officeart/2005/8/layout/arrow2"/>
    <dgm:cxn modelId="{E244716A-EC04-4897-BA55-535B60C1EF50}" type="presParOf" srcId="{945F5EDC-0A9C-410D-90DD-B97AFE8F807B}" destId="{215460EE-2E49-4E1E-8764-CBA94B35A5BD}" srcOrd="0" destOrd="0" presId="urn:microsoft.com/office/officeart/2005/8/layout/arrow2"/>
    <dgm:cxn modelId="{40AEE831-9A97-41BA-81B5-3C536C81F489}" type="presParOf" srcId="{945F5EDC-0A9C-410D-90DD-B97AFE8F807B}" destId="{C5994B73-7FBB-4467-A708-C4F5515DEADF}" srcOrd="1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B03F0F9-00AE-47BE-AB6E-7F0C28B9D66C}">
      <dsp:nvSpPr>
        <dsp:cNvPr id="0" name=""/>
        <dsp:cNvSpPr/>
      </dsp:nvSpPr>
      <dsp:spPr>
        <a:xfrm>
          <a:off x="576077" y="0"/>
          <a:ext cx="10464414" cy="5190104"/>
        </a:xfrm>
        <a:prstGeom prst="swooshArrow">
          <a:avLst>
            <a:gd name="adj1" fmla="val 25000"/>
            <a:gd name="adj2" fmla="val 25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15460EE-2E49-4E1E-8764-CBA94B35A5BD}">
      <dsp:nvSpPr>
        <dsp:cNvPr id="0" name=""/>
        <dsp:cNvSpPr/>
      </dsp:nvSpPr>
      <dsp:spPr>
        <a:xfrm>
          <a:off x="432047" y="570572"/>
          <a:ext cx="520802" cy="418744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C5994B73-7FBB-4467-A708-C4F5515DEADF}">
      <dsp:nvSpPr>
        <dsp:cNvPr id="0" name=""/>
        <dsp:cNvSpPr/>
      </dsp:nvSpPr>
      <dsp:spPr>
        <a:xfrm>
          <a:off x="0" y="1359807"/>
          <a:ext cx="3321667" cy="3830297"/>
        </a:xfrm>
        <a:prstGeom prst="round2Diag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25615" bIns="0" numCol="1" spcCol="1270" anchor="t" anchorCtr="0">
          <a:noAutofit/>
        </a:bodyPr>
        <a:lstStyle/>
        <a:p>
          <a:pPr marL="0" lvl="0" indent="0" algn="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tr-TR" sz="3600" b="1" kern="1200" dirty="0"/>
        </a:p>
      </dsp:txBody>
      <dsp:txXfrm>
        <a:off x="162150" y="1521957"/>
        <a:ext cx="2997367" cy="350599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F35C6BA-64DD-49A6-8E88-76B48F38265D}" type="datetimeFigureOut">
              <a:rPr lang="tr-TR" smtClean="0"/>
              <a:t>14.07.2023</a:t>
            </a:fld>
            <a:endParaRPr lang="tr-T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5932B8B0-9344-4258-AB8A-305F45CFABD9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5545175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09FD967-8041-4197-8336-6E9E1B09B14C}" type="datetimeFigureOut">
              <a:rPr lang="tr-TR" smtClean="0"/>
              <a:t>14.07.2023</a:t>
            </a:fld>
            <a:endParaRPr lang="tr-T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tr-T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94EDBFD-0E17-4A14-B57A-2AE41D7F0A7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2886306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4EDBFD-0E17-4A14-B57A-2AE41D7F0A73}" type="slidenum">
              <a:rPr lang="tr-TR" smtClean="0"/>
              <a:t>1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6786978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4EDBFD-0E17-4A14-B57A-2AE41D7F0A73}" type="slidenum">
              <a:rPr lang="tr-TR" smtClean="0"/>
              <a:t>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690519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r-TR" dirty="0"/>
              <a:t>Salona girerken herkese 2 kağıt veririz.</a:t>
            </a:r>
          </a:p>
          <a:p>
            <a:r>
              <a:rPr lang="tr-TR" dirty="0"/>
              <a:t>Birinde </a:t>
            </a:r>
            <a:r>
              <a:rPr lang="tr-TR" dirty="0" err="1"/>
              <a:t>What</a:t>
            </a:r>
            <a:r>
              <a:rPr lang="tr-TR" dirty="0"/>
              <a:t> is </a:t>
            </a:r>
            <a:r>
              <a:rPr lang="tr-TR" dirty="0" err="1"/>
              <a:t>Agile</a:t>
            </a:r>
            <a:r>
              <a:rPr lang="tr-TR" dirty="0"/>
              <a:t>?</a:t>
            </a:r>
          </a:p>
          <a:p>
            <a:r>
              <a:rPr lang="tr-TR" dirty="0"/>
              <a:t>Diğerinde </a:t>
            </a:r>
            <a:r>
              <a:rPr lang="tr-TR" dirty="0" err="1"/>
              <a:t>Why</a:t>
            </a:r>
            <a:r>
              <a:rPr lang="tr-TR" dirty="0"/>
              <a:t> </a:t>
            </a:r>
            <a:r>
              <a:rPr lang="tr-TR" dirty="0" err="1"/>
              <a:t>Agile</a:t>
            </a:r>
            <a:r>
              <a:rPr lang="tr-TR" dirty="0"/>
              <a:t> yazar?</a:t>
            </a:r>
          </a:p>
          <a:p>
            <a:r>
              <a:rPr lang="tr-TR" dirty="0"/>
              <a:t>Herkesten bunları doldurmasını isteriz. </a:t>
            </a:r>
          </a:p>
          <a:p>
            <a:r>
              <a:rPr lang="tr-TR" dirty="0"/>
              <a:t>Salona girmenin</a:t>
            </a:r>
            <a:r>
              <a:rPr lang="tr-TR" baseline="0" dirty="0"/>
              <a:t> anahtarı olur bu kağıtlar, kenarına da bir anahtar çizebiliriz?</a:t>
            </a:r>
          </a:p>
          <a:p>
            <a:r>
              <a:rPr lang="tr-TR" baseline="0" dirty="0"/>
              <a:t>Kutuda toplarız ya da herkesten okumasını ister sonra hepsini duvara yapıştırırız.</a:t>
            </a:r>
          </a:p>
          <a:p>
            <a:r>
              <a:rPr lang="tr-TR" baseline="0" dirty="0"/>
              <a:t>Eğitim çıktısı olarak fotoğraf çekeriz.</a:t>
            </a:r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4EDBFD-0E17-4A14-B57A-2AE41D7F0A73}" type="slidenum">
              <a:rPr lang="tr-TR" smtClean="0"/>
              <a:t>3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1820219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4EDBFD-0E17-4A14-B57A-2AE41D7F0A73}" type="slidenum">
              <a:rPr lang="tr-TR" smtClean="0"/>
              <a:t>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2027271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4EDBFD-0E17-4A14-B57A-2AE41D7F0A73}" type="slidenum">
              <a:rPr lang="tr-TR" smtClean="0"/>
              <a:t>5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4973992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Resim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613"/>
            <a:ext cx="12193085" cy="6857391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23661" y="2728690"/>
            <a:ext cx="8736971" cy="1008112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tr-TR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023661" y="1648591"/>
            <a:ext cx="8736971" cy="1080121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tr-TR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701" y="4376674"/>
            <a:ext cx="3248065" cy="2490449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Resim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66" y="6237332"/>
            <a:ext cx="1944215" cy="393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6242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tr-T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82B4C-20D9-465E-8927-A1563BF9A1BD}" type="datetime1">
              <a:rPr lang="tr-TR" smtClean="0"/>
              <a:t>14.07.2023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tr-TR"/>
              <a:t>ZT Çevik Koçluk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7152D6-A1E0-4387-A611-A602B40611C9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3813685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64352" y="274638"/>
            <a:ext cx="2592288" cy="589066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1371" y="274638"/>
            <a:ext cx="8640960" cy="5890666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tr-T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6BDCDA-C997-4EAC-9BAE-F60738C89BC6}" type="datetime1">
              <a:rPr lang="tr-TR" smtClean="0"/>
              <a:t>14.07.2023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tr-TR"/>
              <a:t>ZT Çevik Koçluk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7152D6-A1E0-4387-A611-A602B40611C9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820931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964503" y="5167818"/>
            <a:ext cx="62629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1F497D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1F497D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468969" y="2176955"/>
            <a:ext cx="9254067" cy="58477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ctr">
              <a:defRPr sz="3800" b="1" baseline="0">
                <a:solidFill>
                  <a:srgbClr val="1F497D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468969" y="3810871"/>
            <a:ext cx="9254067" cy="307777"/>
          </a:xfrm>
        </p:spPr>
        <p:txBody>
          <a:bodyPr>
            <a:spAutoFit/>
          </a:bodyPr>
          <a:lstStyle>
            <a:lvl1pPr algn="ctr">
              <a:defRPr sz="2000" baseline="0">
                <a:solidFill>
                  <a:srgbClr val="1F497D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12" name="Picture 3" descr="baslik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12192000" cy="73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doc id"/>
          <p:cNvSpPr>
            <a:spLocks noChangeArrowheads="1"/>
          </p:cNvSpPr>
          <p:nvPr userDrawn="1"/>
        </p:nvSpPr>
        <p:spPr bwMode="auto">
          <a:xfrm>
            <a:off x="10993317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459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/>
          <p:cNvSpPr txBox="1">
            <a:spLocks/>
          </p:cNvSpPr>
          <p:nvPr userDrawn="1"/>
        </p:nvSpPr>
        <p:spPr bwMode="auto">
          <a:xfrm>
            <a:off x="11686994" y="6620764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57251" y="190084"/>
            <a:ext cx="10296452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2188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664785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626136" y="6566446"/>
            <a:ext cx="265653" cy="155496"/>
          </a:xfrm>
          <a:prstGeom prst="rect">
            <a:avLst/>
          </a:prstGeom>
          <a:ln/>
        </p:spPr>
        <p:txBody>
          <a:bodyPr lIns="93296" tIns="46648" rIns="93296" bIns="46648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10B3128-C44E-433B-8D4D-E6D2EA027797}" type="slidenum">
              <a:rPr lang="en-US" sz="16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US" sz="16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394020" y="6435725"/>
            <a:ext cx="27834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9A9A165-7AD3-4D8A-BDFD-5CD38F5A29A5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81766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964503" y="5167816"/>
            <a:ext cx="62629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1F497D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1F497D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468969" y="2176953"/>
            <a:ext cx="9254067" cy="58477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ctr">
              <a:defRPr sz="3800" b="1" baseline="0">
                <a:solidFill>
                  <a:srgbClr val="1F497D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468969" y="3810871"/>
            <a:ext cx="9254067" cy="307777"/>
          </a:xfrm>
        </p:spPr>
        <p:txBody>
          <a:bodyPr>
            <a:spAutoFit/>
          </a:bodyPr>
          <a:lstStyle>
            <a:lvl1pPr algn="ctr">
              <a:defRPr sz="2000" baseline="0">
                <a:solidFill>
                  <a:srgbClr val="1F497D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12" name="Picture 3" descr="baslik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12192000" cy="73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doc id"/>
          <p:cNvSpPr>
            <a:spLocks noChangeArrowheads="1"/>
          </p:cNvSpPr>
          <p:nvPr userDrawn="1"/>
        </p:nvSpPr>
        <p:spPr bwMode="auto">
          <a:xfrm>
            <a:off x="10993317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7277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/>
          <p:cNvSpPr txBox="1">
            <a:spLocks/>
          </p:cNvSpPr>
          <p:nvPr userDrawn="1"/>
        </p:nvSpPr>
        <p:spPr bwMode="auto">
          <a:xfrm>
            <a:off x="11686994" y="6620764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57251" y="190084"/>
            <a:ext cx="10296452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02311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11686994" y="6620764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2456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964503" y="5167810"/>
            <a:ext cx="62629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1F497D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1F497D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468969" y="2176947"/>
            <a:ext cx="9254067" cy="58477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ctr">
              <a:defRPr sz="3800" b="1" baseline="0">
                <a:solidFill>
                  <a:srgbClr val="1F497D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468969" y="3810871"/>
            <a:ext cx="9254067" cy="307777"/>
          </a:xfrm>
        </p:spPr>
        <p:txBody>
          <a:bodyPr>
            <a:spAutoFit/>
          </a:bodyPr>
          <a:lstStyle>
            <a:lvl1pPr algn="ctr">
              <a:defRPr sz="2000" baseline="0">
                <a:solidFill>
                  <a:srgbClr val="1F497D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12" name="Picture 3" descr="baslik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12192000" cy="73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doc id"/>
          <p:cNvSpPr>
            <a:spLocks noChangeArrowheads="1"/>
          </p:cNvSpPr>
          <p:nvPr userDrawn="1"/>
        </p:nvSpPr>
        <p:spPr bwMode="auto">
          <a:xfrm>
            <a:off x="10993317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6216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tr-TR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6" name="Veri Yer Tutucusu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61E74-7769-4312-8A2D-CF12EF0D0A39}" type="datetime1">
              <a:rPr lang="tr-TR" smtClean="0"/>
              <a:t>14.07.2023</a:t>
            </a:fld>
            <a:endParaRPr lang="tr-TR" dirty="0"/>
          </a:p>
        </p:txBody>
      </p:sp>
      <p:sp>
        <p:nvSpPr>
          <p:cNvPr id="7" name="Altbilgi Yer Tutucusu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tr-TR"/>
              <a:t>ZT Çevik Koçluk</a:t>
            </a:r>
            <a:endParaRPr lang="tr-TR" dirty="0"/>
          </a:p>
        </p:txBody>
      </p:sp>
      <p:sp>
        <p:nvSpPr>
          <p:cNvPr id="12" name="Slayt Numarası Yer Tutucusu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7152D6-A1E0-4387-A611-A602B40611C9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447697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/>
          <p:cNvSpPr txBox="1">
            <a:spLocks/>
          </p:cNvSpPr>
          <p:nvPr userDrawn="1"/>
        </p:nvSpPr>
        <p:spPr bwMode="auto">
          <a:xfrm>
            <a:off x="11686994" y="6620764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57251" y="190084"/>
            <a:ext cx="10296452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155027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11686994" y="6620764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8673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964527" y="5167802"/>
            <a:ext cx="62629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1F497D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1F497D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468967" y="2176939"/>
            <a:ext cx="9254067" cy="58477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ctr">
              <a:defRPr sz="3800" b="1" baseline="0">
                <a:solidFill>
                  <a:srgbClr val="1F497D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468967" y="3810869"/>
            <a:ext cx="9254067" cy="314028"/>
          </a:xfrm>
        </p:spPr>
        <p:txBody>
          <a:bodyPr>
            <a:spAutoFit/>
          </a:bodyPr>
          <a:lstStyle>
            <a:lvl1pPr algn="ctr">
              <a:defRPr sz="2000" baseline="0">
                <a:solidFill>
                  <a:srgbClr val="1F497D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12" name="Picture 3" descr="baslik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12192000" cy="73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doc id"/>
          <p:cNvSpPr>
            <a:spLocks noChangeArrowheads="1"/>
          </p:cNvSpPr>
          <p:nvPr userDrawn="1"/>
        </p:nvSpPr>
        <p:spPr bwMode="auto">
          <a:xfrm>
            <a:off x="10993341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1784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7247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/>
          <p:cNvSpPr txBox="1">
            <a:spLocks/>
          </p:cNvSpPr>
          <p:nvPr userDrawn="1"/>
        </p:nvSpPr>
        <p:spPr bwMode="auto">
          <a:xfrm>
            <a:off x="11686994" y="6620764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57273" y="190085"/>
            <a:ext cx="1029645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0897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27648" y="3933056"/>
            <a:ext cx="8928992" cy="1224136"/>
          </a:xfrm>
        </p:spPr>
        <p:txBody>
          <a:bodyPr anchor="t">
            <a:normAutofit/>
          </a:bodyPr>
          <a:lstStyle>
            <a:lvl1pPr algn="l">
              <a:defRPr sz="2800" b="1" cap="none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tr-T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27648" y="2564904"/>
            <a:ext cx="8928992" cy="136815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tr-TR"/>
              <a:t>ZT Çevik Koçluk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2553849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373" y="1268760"/>
            <a:ext cx="5568619" cy="4896544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tr-TR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8024" y="1268760"/>
            <a:ext cx="5576821" cy="4896544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tr-T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tr-TR"/>
              <a:t>ZT Çevik Koçluk</a:t>
            </a:r>
            <a:endParaRPr lang="tr-T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7152D6-A1E0-4387-A611-A602B40611C9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698622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373" y="1268781"/>
            <a:ext cx="5568619" cy="76209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1373" y="2060848"/>
            <a:ext cx="5568619" cy="410445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tr-T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88035" y="1268781"/>
            <a:ext cx="5581055" cy="76209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88035" y="2060848"/>
            <a:ext cx="5581055" cy="410445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tr-TR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6284D2-8022-414E-AAA7-8011C39A4138}" type="datetime1">
              <a:rPr lang="tr-TR" smtClean="0"/>
              <a:t>14.07.2023</a:t>
            </a:fld>
            <a:endParaRPr lang="tr-T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tr-TR"/>
              <a:t>ZT Çevik Koçluk</a:t>
            </a:r>
            <a:endParaRPr lang="tr-T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7152D6-A1E0-4387-A611-A602B40611C9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6333497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77245-D039-4C75-A1D8-F587AEA39D9A}" type="datetime1">
              <a:rPr lang="tr-TR" smtClean="0"/>
              <a:t>14.07.2023</a:t>
            </a:fld>
            <a:endParaRPr lang="tr-T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tr-TR"/>
              <a:t>ZT Çevik Koçluk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7152D6-A1E0-4387-A611-A602B40611C9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924872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E2F85D-838F-4897-A352-B52CC00D266A}" type="datetime1">
              <a:rPr lang="tr-TR" smtClean="0"/>
              <a:t>14.07.2023</a:t>
            </a:fld>
            <a:endParaRPr lang="tr-T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tr-TR"/>
              <a:t>ZT Çevik Koçlu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7152D6-A1E0-4387-A611-A602B40611C9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142308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385" y="273050"/>
            <a:ext cx="4189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0"/>
            <a:ext cx="7089907" cy="5892254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tr-T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31385" y="1435104"/>
            <a:ext cx="4189313" cy="473020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10271-675B-4C1F-AD96-DA4F612D9EA0}" type="datetime1">
              <a:rPr lang="tr-TR" smtClean="0"/>
              <a:t>14.07.2023</a:t>
            </a:fld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tr-TR"/>
              <a:t>ZT Çevik Koçluk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7152D6-A1E0-4387-A611-A602B40611C9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898836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5F4C3-8B67-4776-AD5C-98CDD6B0D733}" type="datetime1">
              <a:rPr lang="tr-TR" smtClean="0"/>
              <a:t>14.07.2023</a:t>
            </a:fld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tr-TR"/>
              <a:t>ZT Çevik Koçluk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7152D6-A1E0-4387-A611-A602B40611C9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6837935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15.xml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image" Target="../media/image6.jpeg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24" Type="http://schemas.openxmlformats.org/officeDocument/2006/relationships/image" Target="../media/image5.emf"/><Relationship Id="rId5" Type="http://schemas.openxmlformats.org/officeDocument/2006/relationships/theme" Target="../theme/theme2.xml"/><Relationship Id="rId15" Type="http://schemas.openxmlformats.org/officeDocument/2006/relationships/tags" Target="../tags/tag9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34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29.xml"/><Relationship Id="rId20" Type="http://schemas.openxmlformats.org/officeDocument/2006/relationships/tags" Target="../tags/tag33.xml"/><Relationship Id="rId1" Type="http://schemas.openxmlformats.org/officeDocument/2006/relationships/slideLayout" Target="../slideLayouts/slideLayout16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24" Type="http://schemas.openxmlformats.org/officeDocument/2006/relationships/image" Target="../media/image9.jpeg"/><Relationship Id="rId5" Type="http://schemas.openxmlformats.org/officeDocument/2006/relationships/vmlDrawing" Target="../drawings/vmlDrawing4.vml"/><Relationship Id="rId15" Type="http://schemas.openxmlformats.org/officeDocument/2006/relationships/tags" Target="../tags/tag28.xml"/><Relationship Id="rId23" Type="http://schemas.openxmlformats.org/officeDocument/2006/relationships/image" Target="../media/image5.emf"/><Relationship Id="rId10" Type="http://schemas.openxmlformats.org/officeDocument/2006/relationships/tags" Target="../tags/tag23.xml"/><Relationship Id="rId19" Type="http://schemas.openxmlformats.org/officeDocument/2006/relationships/tags" Target="../tags/tag32.xml"/><Relationship Id="rId4" Type="http://schemas.openxmlformats.org/officeDocument/2006/relationships/theme" Target="../theme/theme3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oleObject" Target="../embeddings/oleObject4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52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image" Target="../media/image6.jpeg"/><Relationship Id="rId5" Type="http://schemas.openxmlformats.org/officeDocument/2006/relationships/vmlDrawing" Target="../drawings/vmlDrawing7.vml"/><Relationship Id="rId15" Type="http://schemas.openxmlformats.org/officeDocument/2006/relationships/tags" Target="../tags/tag46.xml"/><Relationship Id="rId23" Type="http://schemas.openxmlformats.org/officeDocument/2006/relationships/image" Target="../media/image5.emf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4" Type="http://schemas.openxmlformats.org/officeDocument/2006/relationships/theme" Target="../theme/theme4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oleObject" Target="../embeddings/oleObject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tags" Target="../tags/tag63.xml"/><Relationship Id="rId18" Type="http://schemas.openxmlformats.org/officeDocument/2006/relationships/tags" Target="../tags/tag68.xml"/><Relationship Id="rId3" Type="http://schemas.openxmlformats.org/officeDocument/2006/relationships/theme" Target="../theme/theme5.xml"/><Relationship Id="rId21" Type="http://schemas.openxmlformats.org/officeDocument/2006/relationships/oleObject" Target="../embeddings/oleObject10.bin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17" Type="http://schemas.openxmlformats.org/officeDocument/2006/relationships/tags" Target="../tags/tag67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66.xml"/><Relationship Id="rId20" Type="http://schemas.openxmlformats.org/officeDocument/2006/relationships/tags" Target="../tags/tag70.xml"/><Relationship Id="rId1" Type="http://schemas.openxmlformats.org/officeDocument/2006/relationships/slideLayout" Target="../slideLayouts/slideLayout22.x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5" Type="http://schemas.openxmlformats.org/officeDocument/2006/relationships/tags" Target="../tags/tag55.xml"/><Relationship Id="rId15" Type="http://schemas.openxmlformats.org/officeDocument/2006/relationships/tags" Target="../tags/tag65.xml"/><Relationship Id="rId23" Type="http://schemas.openxmlformats.org/officeDocument/2006/relationships/image" Target="../media/image6.jpeg"/><Relationship Id="rId10" Type="http://schemas.openxmlformats.org/officeDocument/2006/relationships/tags" Target="../tags/tag60.xml"/><Relationship Id="rId19" Type="http://schemas.openxmlformats.org/officeDocument/2006/relationships/tags" Target="../tags/tag69.xml"/><Relationship Id="rId4" Type="http://schemas.openxmlformats.org/officeDocument/2006/relationships/vmlDrawing" Target="../drawings/vmlDrawing10.vml"/><Relationship Id="rId9" Type="http://schemas.openxmlformats.org/officeDocument/2006/relationships/tags" Target="../tags/tag59.xml"/><Relationship Id="rId14" Type="http://schemas.openxmlformats.org/officeDocument/2006/relationships/tags" Target="../tags/tag64.xml"/><Relationship Id="rId22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Resim 8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"/>
            <a:ext cx="12192000" cy="685678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375" y="7634"/>
            <a:ext cx="11425268" cy="11171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tr-T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375" y="1268760"/>
            <a:ext cx="11425268" cy="48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tr-T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20472" y="6401994"/>
            <a:ext cx="1056117" cy="26813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016018-5A14-4588-AA10-99417B3FCC37}" type="datetime1">
              <a:rPr lang="tr-TR" smtClean="0"/>
              <a:t>14.07.2023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07701" y="6401994"/>
            <a:ext cx="6912768" cy="268139"/>
          </a:xfrm>
          <a:prstGeom prst="rect">
            <a:avLst/>
          </a:prstGeom>
          <a:noFill/>
        </p:spPr>
        <p:txBody>
          <a:bodyPr vert="horz" lIns="91440" tIns="0" rIns="91440" bIns="0" rtlCol="0" anchor="ctr"/>
          <a:lstStyle>
            <a:lvl1pPr algn="r">
              <a:defRPr sz="1000" b="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tr-TR"/>
              <a:t>ZT Çevik Koçluk</a:t>
            </a:r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76588" y="6401994"/>
            <a:ext cx="493845" cy="268139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0" rIns="9144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7152D6-A1E0-4387-A611-A602B40611C9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536493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n-lt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spcAft>
          <a:spcPts val="60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5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 descr="baslik"/>
          <p:cNvPicPr>
            <a:picLocks noChangeAspect="1" noChangeArrowheads="1"/>
          </p:cNvPicPr>
          <p:nvPr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737004" y="193476"/>
            <a:ext cx="1107085" cy="2856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508985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57251" y="190084"/>
            <a:ext cx="10296452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257259" y="9606"/>
            <a:ext cx="61234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57259" y="483851"/>
            <a:ext cx="10024671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1957092"/>
            <a:ext cx="585302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2" name="McK Slide Elements" hidden="1"/>
          <p:cNvGrpSpPr/>
          <p:nvPr/>
        </p:nvGrpSpPr>
        <p:grpSpPr bwMode="auto">
          <a:xfrm>
            <a:off x="155257" y="6406166"/>
            <a:ext cx="10885287" cy="368503"/>
            <a:chOff x="121488" y="6352634"/>
            <a:chExt cx="8794114" cy="368503"/>
          </a:xfrm>
        </p:grpSpPr>
        <p:sp>
          <p:nvSpPr>
            <p:cNvPr id="63" name="McK 4. Footnote"/>
            <p:cNvSpPr txBox="1">
              <a:spLocks noChangeArrowheads="1"/>
            </p:cNvSpPr>
            <p:nvPr/>
          </p:nvSpPr>
          <p:spPr bwMode="auto">
            <a:xfrm>
              <a:off x="121488" y="6352634"/>
              <a:ext cx="879411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4" name="McK 5. Source"/>
            <p:cNvSpPr>
              <a:spLocks noChangeArrowheads="1"/>
            </p:cNvSpPr>
            <p:nvPr/>
          </p:nvSpPr>
          <p:spPr bwMode="auto">
            <a:xfrm>
              <a:off x="121488" y="6567249"/>
              <a:ext cx="8794112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2775" indent="-6127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1753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65" name="LegendBoxes" hidden="1"/>
          <p:cNvGrpSpPr>
            <a:grpSpLocks/>
          </p:cNvGrpSpPr>
          <p:nvPr/>
        </p:nvGrpSpPr>
        <p:grpSpPr bwMode="auto">
          <a:xfrm>
            <a:off x="10826008" y="561537"/>
            <a:ext cx="848784" cy="996951"/>
            <a:chOff x="4936" y="176"/>
            <a:chExt cx="401" cy="628"/>
          </a:xfrm>
        </p:grpSpPr>
        <p:sp>
          <p:nvSpPr>
            <p:cNvPr id="6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6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4" name="LegendLines" hidden="1"/>
          <p:cNvGrpSpPr>
            <a:grpSpLocks/>
          </p:cNvGrpSpPr>
          <p:nvPr/>
        </p:nvGrpSpPr>
        <p:grpSpPr bwMode="auto">
          <a:xfrm>
            <a:off x="10415308" y="561520"/>
            <a:ext cx="1259418" cy="730251"/>
            <a:chOff x="4750" y="176"/>
            <a:chExt cx="595" cy="460"/>
          </a:xfrm>
        </p:grpSpPr>
        <p:sp>
          <p:nvSpPr>
            <p:cNvPr id="7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81" name="McKSticker" hidden="1"/>
          <p:cNvGrpSpPr/>
          <p:nvPr/>
        </p:nvGrpSpPr>
        <p:grpSpPr bwMode="auto">
          <a:xfrm>
            <a:off x="10777220" y="561520"/>
            <a:ext cx="1066895" cy="212366"/>
            <a:chOff x="7940605" y="285750"/>
            <a:chExt cx="800170" cy="212366"/>
          </a:xfrm>
        </p:grpSpPr>
        <p:sp>
          <p:nvSpPr>
            <p:cNvPr id="82" name="StickerRectangle"/>
            <p:cNvSpPr>
              <a:spLocks noChangeArrowheads="1"/>
            </p:cNvSpPr>
            <p:nvPr/>
          </p:nvSpPr>
          <p:spPr bwMode="auto">
            <a:xfrm>
              <a:off x="7940605" y="285750"/>
              <a:ext cx="800170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3" name="AutoShape 31"/>
            <p:cNvCxnSpPr>
              <a:cxnSpLocks noChangeShapeType="1"/>
              <a:stCxn id="82" idx="2"/>
              <a:endCxn id="82" idx="4"/>
            </p:cNvCxnSpPr>
            <p:nvPr/>
          </p:nvCxnSpPr>
          <p:spPr bwMode="auto">
            <a:xfrm>
              <a:off x="7940605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4" name="AutoShape 32"/>
            <p:cNvCxnSpPr>
              <a:cxnSpLocks noChangeShapeType="1"/>
              <a:stCxn id="82" idx="4"/>
              <a:endCxn id="82" idx="6"/>
            </p:cNvCxnSpPr>
            <p:nvPr/>
          </p:nvCxnSpPr>
          <p:spPr bwMode="auto">
            <a:xfrm>
              <a:off x="7940605" y="498116"/>
              <a:ext cx="8001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5" name="LegendMoons" hidden="1"/>
          <p:cNvGrpSpPr/>
          <p:nvPr/>
        </p:nvGrpSpPr>
        <p:grpSpPr bwMode="auto">
          <a:xfrm>
            <a:off x="10736824" y="561520"/>
            <a:ext cx="937321" cy="1306516"/>
            <a:chOff x="6655594" y="273840"/>
            <a:chExt cx="702991" cy="1306516"/>
          </a:xfrm>
        </p:grpSpPr>
        <p:grpSp>
          <p:nvGrpSpPr>
            <p:cNvPr id="86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4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5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2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8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9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8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5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39088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</p:sldLayoutIdLst>
  <p:hf hdr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rgbClr val="1F497D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80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 descr="baslik"/>
          <p:cNvPicPr>
            <a:picLocks noChangeAspect="1" noChangeArrowheads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737004" y="193476"/>
            <a:ext cx="1107085" cy="2856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509000"/>
            <a:ext cx="585302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Text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57251" y="190084"/>
            <a:ext cx="10296452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257258" y="9606"/>
            <a:ext cx="61234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57258" y="483851"/>
            <a:ext cx="10024671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1957092"/>
            <a:ext cx="585302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2" name="McK Slide Elements" hidden="1"/>
          <p:cNvGrpSpPr/>
          <p:nvPr/>
        </p:nvGrpSpPr>
        <p:grpSpPr bwMode="auto">
          <a:xfrm>
            <a:off x="155255" y="6406164"/>
            <a:ext cx="10885287" cy="368503"/>
            <a:chOff x="121488" y="6352634"/>
            <a:chExt cx="8794114" cy="368503"/>
          </a:xfrm>
        </p:grpSpPr>
        <p:sp>
          <p:nvSpPr>
            <p:cNvPr id="63" name="McK 4. Footnote"/>
            <p:cNvSpPr txBox="1">
              <a:spLocks noChangeArrowheads="1"/>
            </p:cNvSpPr>
            <p:nvPr/>
          </p:nvSpPr>
          <p:spPr bwMode="auto">
            <a:xfrm>
              <a:off x="121488" y="6352634"/>
              <a:ext cx="879411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4" name="McK 5. Source"/>
            <p:cNvSpPr>
              <a:spLocks noChangeArrowheads="1"/>
            </p:cNvSpPr>
            <p:nvPr/>
          </p:nvSpPr>
          <p:spPr bwMode="auto">
            <a:xfrm>
              <a:off x="121488" y="6567249"/>
              <a:ext cx="8794112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2775" indent="-6127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1753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65" name="LegendBoxes" hidden="1"/>
          <p:cNvGrpSpPr>
            <a:grpSpLocks/>
          </p:cNvGrpSpPr>
          <p:nvPr/>
        </p:nvGrpSpPr>
        <p:grpSpPr bwMode="auto">
          <a:xfrm>
            <a:off x="10826004" y="561535"/>
            <a:ext cx="848784" cy="996951"/>
            <a:chOff x="4936" y="176"/>
            <a:chExt cx="401" cy="628"/>
          </a:xfrm>
        </p:grpSpPr>
        <p:sp>
          <p:nvSpPr>
            <p:cNvPr id="6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6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4" name="LegendLines" hidden="1"/>
          <p:cNvGrpSpPr>
            <a:grpSpLocks/>
          </p:cNvGrpSpPr>
          <p:nvPr/>
        </p:nvGrpSpPr>
        <p:grpSpPr bwMode="auto">
          <a:xfrm>
            <a:off x="10415312" y="561520"/>
            <a:ext cx="1259418" cy="730251"/>
            <a:chOff x="4750" y="176"/>
            <a:chExt cx="595" cy="460"/>
          </a:xfrm>
        </p:grpSpPr>
        <p:sp>
          <p:nvSpPr>
            <p:cNvPr id="7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81" name="McKSticker" hidden="1"/>
          <p:cNvGrpSpPr/>
          <p:nvPr/>
        </p:nvGrpSpPr>
        <p:grpSpPr bwMode="auto">
          <a:xfrm>
            <a:off x="10777218" y="561520"/>
            <a:ext cx="1066895" cy="212366"/>
            <a:chOff x="7940605" y="285750"/>
            <a:chExt cx="800170" cy="212366"/>
          </a:xfrm>
        </p:grpSpPr>
        <p:sp>
          <p:nvSpPr>
            <p:cNvPr id="82" name="StickerRectangle"/>
            <p:cNvSpPr>
              <a:spLocks noChangeArrowheads="1"/>
            </p:cNvSpPr>
            <p:nvPr/>
          </p:nvSpPr>
          <p:spPr bwMode="auto">
            <a:xfrm>
              <a:off x="7940605" y="285750"/>
              <a:ext cx="800170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3" name="AutoShape 31"/>
            <p:cNvCxnSpPr>
              <a:cxnSpLocks noChangeShapeType="1"/>
              <a:stCxn id="82" idx="2"/>
              <a:endCxn id="82" idx="4"/>
            </p:cNvCxnSpPr>
            <p:nvPr/>
          </p:nvCxnSpPr>
          <p:spPr bwMode="auto">
            <a:xfrm>
              <a:off x="7940605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4" name="AutoShape 32"/>
            <p:cNvCxnSpPr>
              <a:cxnSpLocks noChangeShapeType="1"/>
              <a:stCxn id="82" idx="4"/>
              <a:endCxn id="82" idx="6"/>
            </p:cNvCxnSpPr>
            <p:nvPr/>
          </p:nvCxnSpPr>
          <p:spPr bwMode="auto">
            <a:xfrm>
              <a:off x="7940605" y="498116"/>
              <a:ext cx="8001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5" name="LegendMoons" hidden="1"/>
          <p:cNvGrpSpPr/>
          <p:nvPr/>
        </p:nvGrpSpPr>
        <p:grpSpPr bwMode="auto">
          <a:xfrm>
            <a:off x="10736826" y="561520"/>
            <a:ext cx="937321" cy="1306516"/>
            <a:chOff x="6655594" y="273840"/>
            <a:chExt cx="702991" cy="1306516"/>
          </a:xfrm>
        </p:grpSpPr>
        <p:grpSp>
          <p:nvGrpSpPr>
            <p:cNvPr id="86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4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5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2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8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9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8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5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62474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hf hdr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rgbClr val="1F497D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04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 descr="baslik"/>
          <p:cNvPicPr>
            <a:picLocks noChangeAspect="1" noChangeArrowheads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737004" y="193476"/>
            <a:ext cx="1107085" cy="2856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508994"/>
            <a:ext cx="585302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57251" y="190084"/>
            <a:ext cx="10296452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257254" y="9606"/>
            <a:ext cx="61234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57254" y="483851"/>
            <a:ext cx="10024671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1957092"/>
            <a:ext cx="585302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2" name="McK Slide Elements" hidden="1"/>
          <p:cNvGrpSpPr/>
          <p:nvPr/>
        </p:nvGrpSpPr>
        <p:grpSpPr bwMode="auto">
          <a:xfrm>
            <a:off x="155251" y="6406158"/>
            <a:ext cx="10885287" cy="368503"/>
            <a:chOff x="121488" y="6352634"/>
            <a:chExt cx="8794114" cy="368503"/>
          </a:xfrm>
        </p:grpSpPr>
        <p:sp>
          <p:nvSpPr>
            <p:cNvPr id="63" name="McK 4. Footnote"/>
            <p:cNvSpPr txBox="1">
              <a:spLocks noChangeArrowheads="1"/>
            </p:cNvSpPr>
            <p:nvPr/>
          </p:nvSpPr>
          <p:spPr bwMode="auto">
            <a:xfrm>
              <a:off x="121488" y="6352634"/>
              <a:ext cx="879411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4" name="McK 5. Source"/>
            <p:cNvSpPr>
              <a:spLocks noChangeArrowheads="1"/>
            </p:cNvSpPr>
            <p:nvPr/>
          </p:nvSpPr>
          <p:spPr bwMode="auto">
            <a:xfrm>
              <a:off x="121488" y="6567249"/>
              <a:ext cx="8794112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2775" indent="-6127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1753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65" name="LegendBoxes" hidden="1"/>
          <p:cNvGrpSpPr>
            <a:grpSpLocks/>
          </p:cNvGrpSpPr>
          <p:nvPr/>
        </p:nvGrpSpPr>
        <p:grpSpPr bwMode="auto">
          <a:xfrm>
            <a:off x="10825992" y="561529"/>
            <a:ext cx="848784" cy="996951"/>
            <a:chOff x="4936" y="176"/>
            <a:chExt cx="401" cy="628"/>
          </a:xfrm>
        </p:grpSpPr>
        <p:sp>
          <p:nvSpPr>
            <p:cNvPr id="6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74" name="LegendLines" hidden="1"/>
          <p:cNvGrpSpPr>
            <a:grpSpLocks/>
          </p:cNvGrpSpPr>
          <p:nvPr/>
        </p:nvGrpSpPr>
        <p:grpSpPr bwMode="auto">
          <a:xfrm>
            <a:off x="10415324" y="561520"/>
            <a:ext cx="1259418" cy="730251"/>
            <a:chOff x="4750" y="176"/>
            <a:chExt cx="595" cy="460"/>
          </a:xfrm>
        </p:grpSpPr>
        <p:sp>
          <p:nvSpPr>
            <p:cNvPr id="7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81" name="McKSticker" hidden="1"/>
          <p:cNvGrpSpPr/>
          <p:nvPr/>
        </p:nvGrpSpPr>
        <p:grpSpPr bwMode="auto">
          <a:xfrm>
            <a:off x="10777210" y="561520"/>
            <a:ext cx="1066895" cy="212366"/>
            <a:chOff x="7940605" y="285750"/>
            <a:chExt cx="800170" cy="212366"/>
          </a:xfrm>
        </p:grpSpPr>
        <p:sp>
          <p:nvSpPr>
            <p:cNvPr id="82" name="StickerRectangle"/>
            <p:cNvSpPr>
              <a:spLocks noChangeArrowheads="1"/>
            </p:cNvSpPr>
            <p:nvPr/>
          </p:nvSpPr>
          <p:spPr bwMode="auto">
            <a:xfrm>
              <a:off x="7940605" y="285750"/>
              <a:ext cx="800170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3" name="AutoShape 31"/>
            <p:cNvCxnSpPr>
              <a:cxnSpLocks noChangeShapeType="1"/>
              <a:stCxn id="82" idx="2"/>
              <a:endCxn id="82" idx="4"/>
            </p:cNvCxnSpPr>
            <p:nvPr/>
          </p:nvCxnSpPr>
          <p:spPr bwMode="auto">
            <a:xfrm>
              <a:off x="7940605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4" name="AutoShape 32"/>
            <p:cNvCxnSpPr>
              <a:cxnSpLocks noChangeShapeType="1"/>
              <a:stCxn id="82" idx="4"/>
              <a:endCxn id="82" idx="6"/>
            </p:cNvCxnSpPr>
            <p:nvPr/>
          </p:nvCxnSpPr>
          <p:spPr bwMode="auto">
            <a:xfrm>
              <a:off x="7940605" y="498116"/>
              <a:ext cx="8001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5" name="LegendMoons" hidden="1"/>
          <p:cNvGrpSpPr/>
          <p:nvPr/>
        </p:nvGrpSpPr>
        <p:grpSpPr bwMode="auto">
          <a:xfrm>
            <a:off x="10736834" y="561520"/>
            <a:ext cx="937321" cy="1306516"/>
            <a:chOff x="6655594" y="273840"/>
            <a:chExt cx="702991" cy="1306516"/>
          </a:xfrm>
        </p:grpSpPr>
        <p:grpSp>
          <p:nvGrpSpPr>
            <p:cNvPr id="86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4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5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2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8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9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8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5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92434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</p:sldLayoutIdLst>
  <p:hf hdr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rgbClr val="1F497D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28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 descr="baslik"/>
          <p:cNvPicPr>
            <a:picLocks noChangeAspect="1" noChangeArrowheads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737024" y="193476"/>
            <a:ext cx="1107085" cy="2856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508985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57273" y="190085"/>
            <a:ext cx="1029645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257249" y="9606"/>
            <a:ext cx="61234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57262" y="483861"/>
            <a:ext cx="10024671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1957092"/>
            <a:ext cx="585302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2" name="McK Slide Elements" hidden="1"/>
          <p:cNvGrpSpPr/>
          <p:nvPr/>
        </p:nvGrpSpPr>
        <p:grpSpPr bwMode="auto">
          <a:xfrm>
            <a:off x="155258" y="6403047"/>
            <a:ext cx="10885287" cy="371629"/>
            <a:chOff x="121488" y="6349508"/>
            <a:chExt cx="8794114" cy="371629"/>
          </a:xfrm>
        </p:grpSpPr>
        <p:sp>
          <p:nvSpPr>
            <p:cNvPr id="63" name="McK 4. Footnote"/>
            <p:cNvSpPr txBox="1">
              <a:spLocks noChangeArrowheads="1"/>
            </p:cNvSpPr>
            <p:nvPr/>
          </p:nvSpPr>
          <p:spPr bwMode="auto">
            <a:xfrm>
              <a:off x="121488" y="6349508"/>
              <a:ext cx="8794114" cy="1570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4" name="McK 5. Source"/>
            <p:cNvSpPr>
              <a:spLocks noChangeArrowheads="1"/>
            </p:cNvSpPr>
            <p:nvPr/>
          </p:nvSpPr>
          <p:spPr bwMode="auto">
            <a:xfrm>
              <a:off x="121488" y="6564123"/>
              <a:ext cx="8794112" cy="1570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1608" indent="-611608" defTabSz="911784" fontAlgn="base">
                <a:spcBef>
                  <a:spcPct val="0"/>
                </a:spcBef>
                <a:spcAft>
                  <a:spcPct val="0"/>
                </a:spcAft>
                <a:tabLst>
                  <a:tab pos="616360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65" name="LegendBoxes" hidden="1"/>
          <p:cNvGrpSpPr>
            <a:grpSpLocks/>
          </p:cNvGrpSpPr>
          <p:nvPr/>
        </p:nvGrpSpPr>
        <p:grpSpPr bwMode="auto">
          <a:xfrm>
            <a:off x="10825981" y="561520"/>
            <a:ext cx="848785" cy="996951"/>
            <a:chOff x="4936" y="176"/>
            <a:chExt cx="401" cy="628"/>
          </a:xfrm>
        </p:grpSpPr>
        <p:sp>
          <p:nvSpPr>
            <p:cNvPr id="6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64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64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64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64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74" name="LegendLines" hidden="1"/>
          <p:cNvGrpSpPr>
            <a:grpSpLocks/>
          </p:cNvGrpSpPr>
          <p:nvPr/>
        </p:nvGrpSpPr>
        <p:grpSpPr bwMode="auto">
          <a:xfrm>
            <a:off x="10415341" y="561521"/>
            <a:ext cx="1259418" cy="730251"/>
            <a:chOff x="4750" y="176"/>
            <a:chExt cx="595" cy="460"/>
          </a:xfrm>
        </p:grpSpPr>
        <p:sp>
          <p:nvSpPr>
            <p:cNvPr id="7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64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64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64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81" name="McKSticker" hidden="1"/>
          <p:cNvGrpSpPr/>
          <p:nvPr/>
        </p:nvGrpSpPr>
        <p:grpSpPr bwMode="auto">
          <a:xfrm>
            <a:off x="10777201" y="561520"/>
            <a:ext cx="1066894" cy="212366"/>
            <a:chOff x="7940605" y="285750"/>
            <a:chExt cx="800170" cy="212366"/>
          </a:xfrm>
        </p:grpSpPr>
        <p:sp>
          <p:nvSpPr>
            <p:cNvPr id="82" name="StickerRectangle"/>
            <p:cNvSpPr>
              <a:spLocks noChangeArrowheads="1"/>
            </p:cNvSpPr>
            <p:nvPr/>
          </p:nvSpPr>
          <p:spPr bwMode="auto">
            <a:xfrm>
              <a:off x="7940605" y="285750"/>
              <a:ext cx="800170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364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3" name="AutoShape 31"/>
            <p:cNvCxnSpPr>
              <a:cxnSpLocks noChangeShapeType="1"/>
              <a:stCxn id="82" idx="2"/>
              <a:endCxn id="82" idx="4"/>
            </p:cNvCxnSpPr>
            <p:nvPr/>
          </p:nvCxnSpPr>
          <p:spPr bwMode="auto">
            <a:xfrm>
              <a:off x="7940605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4" name="AutoShape 32"/>
            <p:cNvCxnSpPr>
              <a:cxnSpLocks noChangeShapeType="1"/>
              <a:stCxn id="82" idx="4"/>
              <a:endCxn id="82" idx="6"/>
            </p:cNvCxnSpPr>
            <p:nvPr/>
          </p:nvCxnSpPr>
          <p:spPr bwMode="auto">
            <a:xfrm>
              <a:off x="7940605" y="498116"/>
              <a:ext cx="8001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5" name="LegendMoons" hidden="1"/>
          <p:cNvGrpSpPr/>
          <p:nvPr/>
        </p:nvGrpSpPr>
        <p:grpSpPr bwMode="auto">
          <a:xfrm>
            <a:off x="10736873" y="561520"/>
            <a:ext cx="937322" cy="1306516"/>
            <a:chOff x="6655594" y="273840"/>
            <a:chExt cx="702991" cy="1306516"/>
          </a:xfrm>
        </p:grpSpPr>
        <p:grpSp>
          <p:nvGrpSpPr>
            <p:cNvPr id="86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4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5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2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8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9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8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64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64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64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64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64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5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84744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/>
  <p:txStyles>
    <p:titleStyle>
      <a:lvl1pPr algn="l" defTabSz="911784" rtl="0" eaLnBrk="1" fontAlgn="base" hangingPunct="1">
        <a:spcBef>
          <a:spcPct val="0"/>
        </a:spcBef>
        <a:spcAft>
          <a:spcPct val="0"/>
        </a:spcAft>
        <a:tabLst>
          <a:tab pos="274829" algn="l"/>
        </a:tabLst>
        <a:defRPr sz="1900" b="1" baseline="0">
          <a:solidFill>
            <a:srgbClr val="1F497D"/>
          </a:solidFill>
          <a:latin typeface="+mj-lt"/>
          <a:ea typeface="+mj-ea"/>
          <a:cs typeface="+mj-cs"/>
        </a:defRPr>
      </a:lvl1pPr>
      <a:lvl2pPr algn="l" defTabSz="91178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178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178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178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581" algn="l" defTabSz="91178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185" algn="l" defTabSz="91178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6778" algn="l" defTabSz="91178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2367" algn="l" defTabSz="91178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178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231" indent="-195614" algn="l" defTabSz="91178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465581" indent="-266746" algn="l" defTabSz="91178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5641" indent="-158433" algn="l" defTabSz="91178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3571" indent="-132563" algn="l" defTabSz="91178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3571" indent="-132563" algn="l" defTabSz="91178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3571" indent="-132563" algn="l" defTabSz="91178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3571" indent="-132563" algn="l" defTabSz="91178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3571" indent="-132563" algn="l" defTabSz="91178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1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581" algn="l" defTabSz="9311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185" algn="l" defTabSz="9311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6778" algn="l" defTabSz="9311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2367" algn="l" defTabSz="9311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7959" algn="l" defTabSz="9311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3550" algn="l" defTabSz="9311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59142" algn="l" defTabSz="9311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4736" algn="l" defTabSz="9311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55709" y="2492896"/>
            <a:ext cx="8616955" cy="1080121"/>
          </a:xfrm>
        </p:spPr>
        <p:txBody>
          <a:bodyPr>
            <a:normAutofit/>
          </a:bodyPr>
          <a:lstStyle/>
          <a:p>
            <a:endParaRPr lang="tr-TR" sz="2400" dirty="0"/>
          </a:p>
        </p:txBody>
      </p:sp>
    </p:spTree>
    <p:extLst>
      <p:ext uri="{BB962C8B-B14F-4D97-AF65-F5344CB8AC3E}">
        <p14:creationId xmlns:p14="http://schemas.microsoft.com/office/powerpoint/2010/main" val="219399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7152D6-A1E0-4387-A611-A602B40611C9}" type="slidenum">
              <a:rPr lang="tr-TR" smtClean="0"/>
              <a:pPr/>
              <a:t>2</a:t>
            </a:fld>
            <a:endParaRPr lang="tr-TR" dirty="0"/>
          </a:p>
        </p:txBody>
      </p:sp>
      <p:sp>
        <p:nvSpPr>
          <p:cNvPr id="10" name="Başlık 2"/>
          <p:cNvSpPr txBox="1">
            <a:spLocks noGrp="1"/>
          </p:cNvSpPr>
          <p:nvPr>
            <p:ph type="title"/>
          </p:nvPr>
        </p:nvSpPr>
        <p:spPr>
          <a:xfrm>
            <a:off x="0" y="7634"/>
            <a:ext cx="12192000" cy="1117131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tr-T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7995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/>
          <a:p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D17152D6-A1E0-4387-A611-A602B40611C9}" type="slidenum">
              <a:rPr lang="tr-TR" smtClean="0"/>
              <a:pPr/>
              <a:t>3</a:t>
            </a:fld>
            <a:endParaRPr lang="tr-TR" dirty="0"/>
          </a:p>
        </p:txBody>
      </p:sp>
      <p:sp>
        <p:nvSpPr>
          <p:cNvPr id="70" name="Rectangle 69"/>
          <p:cNvSpPr/>
          <p:nvPr/>
        </p:nvSpPr>
        <p:spPr>
          <a:xfrm>
            <a:off x="-885369" y="1699261"/>
            <a:ext cx="5532967" cy="34713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71" name="Rectangle 70"/>
          <p:cNvSpPr/>
          <p:nvPr/>
        </p:nvSpPr>
        <p:spPr>
          <a:xfrm>
            <a:off x="7524559" y="5209078"/>
            <a:ext cx="5532967" cy="34713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0371501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" grpId="0" animBg="1"/>
      <p:bldP spid="7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şlık 2"/>
          <p:cNvSpPr txBox="1">
            <a:spLocks/>
          </p:cNvSpPr>
          <p:nvPr/>
        </p:nvSpPr>
        <p:spPr>
          <a:xfrm>
            <a:off x="-11444" y="-27104"/>
            <a:ext cx="12192000" cy="862519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tr-TR" dirty="0">
              <a:solidFill>
                <a:schemeClr val="bg1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/>
          <a:p>
            <a:endParaRPr lang="tr-TR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D17152D6-A1E0-4387-A611-A602B40611C9}" type="slidenum">
              <a:rPr lang="tr-TR" smtClean="0"/>
              <a:t>4</a:t>
            </a:fld>
            <a:endParaRPr lang="tr-TR"/>
          </a:p>
        </p:txBody>
      </p:sp>
      <p:sp>
        <p:nvSpPr>
          <p:cNvPr id="7" name="Dikdörtgen 6"/>
          <p:cNvSpPr/>
          <p:nvPr/>
        </p:nvSpPr>
        <p:spPr>
          <a:xfrm>
            <a:off x="8324712" y="2550296"/>
            <a:ext cx="35457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8619934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şlık 2"/>
          <p:cNvSpPr txBox="1">
            <a:spLocks/>
          </p:cNvSpPr>
          <p:nvPr/>
        </p:nvSpPr>
        <p:spPr>
          <a:xfrm>
            <a:off x="0" y="0"/>
            <a:ext cx="12192000" cy="870115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tr-TR" dirty="0">
              <a:solidFill>
                <a:schemeClr val="bg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D17152D6-A1E0-4387-A611-A602B40611C9}" type="slidenum">
              <a:rPr lang="tr-TR" smtClean="0"/>
              <a:t>5</a:t>
            </a:fld>
            <a:endParaRPr lang="tr-TR"/>
          </a:p>
        </p:txBody>
      </p:sp>
      <p:sp>
        <p:nvSpPr>
          <p:cNvPr id="28" name="Date Placeholder 2"/>
          <p:cNvSpPr txBox="1">
            <a:spLocks/>
          </p:cNvSpPr>
          <p:nvPr/>
        </p:nvSpPr>
        <p:spPr>
          <a:xfrm>
            <a:off x="10320472" y="6401994"/>
            <a:ext cx="1056117" cy="268139"/>
          </a:xfrm>
          <a:prstGeom prst="rect">
            <a:avLst/>
          </a:prstGeom>
          <a:noFill/>
        </p:spPr>
        <p:txBody>
          <a:bodyPr/>
          <a:lstStyle>
            <a:defPPr>
              <a:defRPr lang="tr-T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60AD9D51-21F6-4761-9D47-88FD81E8C4F6}" type="datetime1">
              <a:rPr lang="tr-TR" sz="1000" i="1">
                <a:solidFill>
                  <a:schemeClr val="tx1">
                    <a:tint val="75000"/>
                  </a:schemeClr>
                </a:solidFill>
              </a:rPr>
              <a:pPr algn="ctr"/>
              <a:t>14.07.2023</a:t>
            </a:fld>
            <a:endParaRPr lang="tr-TR" sz="1000" i="1" dirty="0">
              <a:solidFill>
                <a:schemeClr val="tx1">
                  <a:tint val="75000"/>
                </a:schemeClr>
              </a:solidFill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062387088"/>
              </p:ext>
            </p:extLst>
          </p:nvPr>
        </p:nvGraphicFramePr>
        <p:xfrm>
          <a:off x="119335" y="1124744"/>
          <a:ext cx="11751097" cy="51901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6082" name="Picture 2" descr="http://ztportal/SiteAssets/default/kurumKimlik/kirmizi_siyah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0115" y="1622147"/>
            <a:ext cx="2792449" cy="565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613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50754F-ACEB-42E8-B7BB-0FA6B7156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1854DE-15E4-4532-86AD-D4576F8D0D12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E3F7FD7-9E4B-4838-842E-8721C3B3B119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37A31F-19F5-45FB-A8E8-16C1E23B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tr-TR" dirty="0"/>
              <a:t>ZT Çevik Koçluk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C09A34-BF99-4C8A-9A5A-497297C4AC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7152D6-A1E0-4387-A611-A602B40611C9}" type="slidenum">
              <a:rPr lang="tr-TR" smtClean="0"/>
              <a:t>6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610695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/>
      <a:lstStyle>
        <a:defPPr algn="r">
          <a:defRPr sz="1000" dirty="0" smtClean="0">
            <a:solidFill>
              <a:schemeClr val="bg1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2_Turkiye Bankasi_CF_TIB007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DCDCDC"/>
      </a:lt2>
      <a:accent1>
        <a:srgbClr val="5EC6E3"/>
      </a:accent1>
      <a:accent2>
        <a:srgbClr val="256CA7"/>
      </a:accent2>
      <a:accent3>
        <a:srgbClr val="113C8B"/>
      </a:accent3>
      <a:accent4>
        <a:srgbClr val="00224A"/>
      </a:accent4>
      <a:accent5>
        <a:srgbClr val="FF6600"/>
      </a:accent5>
      <a:accent6>
        <a:srgbClr val="808080"/>
      </a:accent6>
      <a:hlink>
        <a:srgbClr val="113C8B"/>
      </a:hlink>
      <a:folHlink>
        <a:srgbClr val="00224A"/>
      </a:folHlink>
    </a:clrScheme>
    <a:fontScheme name="Current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DCDCDC"/>
        </a:lt2>
        <a:accent1>
          <a:srgbClr val="5EC6E3"/>
        </a:accent1>
        <a:accent2>
          <a:srgbClr val="256CA7"/>
        </a:accent2>
        <a:accent3>
          <a:srgbClr val="113C8B"/>
        </a:accent3>
        <a:accent4>
          <a:srgbClr val="00224A"/>
        </a:accent4>
        <a:accent5>
          <a:srgbClr val="FF6600"/>
        </a:accent5>
        <a:accent6>
          <a:srgbClr val="808080"/>
        </a:accent6>
        <a:hlink>
          <a:srgbClr val="113C8B"/>
        </a:hlink>
        <a:folHlink>
          <a:srgbClr val="00224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Turkiye Bankasi_CF_TIB007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DCDCDC"/>
      </a:lt2>
      <a:accent1>
        <a:srgbClr val="5EC6E3"/>
      </a:accent1>
      <a:accent2>
        <a:srgbClr val="256CA7"/>
      </a:accent2>
      <a:accent3>
        <a:srgbClr val="113C8B"/>
      </a:accent3>
      <a:accent4>
        <a:srgbClr val="00224A"/>
      </a:accent4>
      <a:accent5>
        <a:srgbClr val="FF6600"/>
      </a:accent5>
      <a:accent6>
        <a:srgbClr val="808080"/>
      </a:accent6>
      <a:hlink>
        <a:srgbClr val="113C8B"/>
      </a:hlink>
      <a:folHlink>
        <a:srgbClr val="00224A"/>
      </a:folHlink>
    </a:clrScheme>
    <a:fontScheme name="Current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DCDCDC"/>
        </a:lt2>
        <a:accent1>
          <a:srgbClr val="5EC6E3"/>
        </a:accent1>
        <a:accent2>
          <a:srgbClr val="256CA7"/>
        </a:accent2>
        <a:accent3>
          <a:srgbClr val="113C8B"/>
        </a:accent3>
        <a:accent4>
          <a:srgbClr val="00224A"/>
        </a:accent4>
        <a:accent5>
          <a:srgbClr val="FF6600"/>
        </a:accent5>
        <a:accent6>
          <a:srgbClr val="808080"/>
        </a:accent6>
        <a:hlink>
          <a:srgbClr val="113C8B"/>
        </a:hlink>
        <a:folHlink>
          <a:srgbClr val="00224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Turkiye Bankasi_CF_TIB007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DCDCDC"/>
      </a:lt2>
      <a:accent1>
        <a:srgbClr val="5EC6E3"/>
      </a:accent1>
      <a:accent2>
        <a:srgbClr val="256CA7"/>
      </a:accent2>
      <a:accent3>
        <a:srgbClr val="113C8B"/>
      </a:accent3>
      <a:accent4>
        <a:srgbClr val="00224A"/>
      </a:accent4>
      <a:accent5>
        <a:srgbClr val="FF6600"/>
      </a:accent5>
      <a:accent6>
        <a:srgbClr val="808080"/>
      </a:accent6>
      <a:hlink>
        <a:srgbClr val="113C8B"/>
      </a:hlink>
      <a:folHlink>
        <a:srgbClr val="00224A"/>
      </a:folHlink>
    </a:clrScheme>
    <a:fontScheme name="Current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DCDCDC"/>
        </a:lt2>
        <a:accent1>
          <a:srgbClr val="5EC6E3"/>
        </a:accent1>
        <a:accent2>
          <a:srgbClr val="256CA7"/>
        </a:accent2>
        <a:accent3>
          <a:srgbClr val="113C8B"/>
        </a:accent3>
        <a:accent4>
          <a:srgbClr val="00224A"/>
        </a:accent4>
        <a:accent5>
          <a:srgbClr val="FF6600"/>
        </a:accent5>
        <a:accent6>
          <a:srgbClr val="808080"/>
        </a:accent6>
        <a:hlink>
          <a:srgbClr val="113C8B"/>
        </a:hlink>
        <a:folHlink>
          <a:srgbClr val="00224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5_Turkiye Bankasi_CF_TIB007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DCDCDC"/>
      </a:lt2>
      <a:accent1>
        <a:srgbClr val="5EC6E3"/>
      </a:accent1>
      <a:accent2>
        <a:srgbClr val="256CA7"/>
      </a:accent2>
      <a:accent3>
        <a:srgbClr val="113C8B"/>
      </a:accent3>
      <a:accent4>
        <a:srgbClr val="00224A"/>
      </a:accent4>
      <a:accent5>
        <a:srgbClr val="FF6600"/>
      </a:accent5>
      <a:accent6>
        <a:srgbClr val="808080"/>
      </a:accent6>
      <a:hlink>
        <a:srgbClr val="113C8B"/>
      </a:hlink>
      <a:folHlink>
        <a:srgbClr val="00224A"/>
      </a:folHlink>
    </a:clrScheme>
    <a:fontScheme name="Current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DCDCDC"/>
        </a:lt2>
        <a:accent1>
          <a:srgbClr val="5EC6E3"/>
        </a:accent1>
        <a:accent2>
          <a:srgbClr val="256CA7"/>
        </a:accent2>
        <a:accent3>
          <a:srgbClr val="113C8B"/>
        </a:accent3>
        <a:accent4>
          <a:srgbClr val="00224A"/>
        </a:accent4>
        <a:accent5>
          <a:srgbClr val="FF6600"/>
        </a:accent5>
        <a:accent6>
          <a:srgbClr val="808080"/>
        </a:accent6>
        <a:hlink>
          <a:srgbClr val="113C8B"/>
        </a:hlink>
        <a:folHlink>
          <a:srgbClr val="00224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Belge" ma:contentTypeID="0x0101007FDE9DE898099B47AD53ECDD9E193140" ma:contentTypeVersion="0" ma:contentTypeDescription="Yeni belge oluşturun." ma:contentTypeScope="" ma:versionID="046f1185e5d3b56ebe1fee0fa6de169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58095ecd7aea3e31838633d5a04a19c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İçerik Türü"/>
        <xsd:element ref="dc:title" minOccurs="0" maxOccurs="1" ma:index="4" ma:displayName="Başlı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35C0FED-8483-4B4F-BDED-C9DEE752F1BC}">
  <ds:schemaRefs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purl.org/dc/elements/1.1/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83F4B4C-FE89-4D02-B333-DED887390A0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FA9131F2-A2E8-471C-9F53-67121CC6A6E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4633</TotalTime>
  <Words>67</Words>
  <Application>Microsoft Office PowerPoint</Application>
  <PresentationFormat>Geniş ekran</PresentationFormat>
  <Paragraphs>19</Paragraphs>
  <Slides>6</Slides>
  <Notes>5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3</vt:i4>
      </vt:variant>
      <vt:variant>
        <vt:lpstr>Tema</vt:lpstr>
      </vt:variant>
      <vt:variant>
        <vt:i4>5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6</vt:i4>
      </vt:variant>
    </vt:vector>
  </HeadingPairs>
  <TitlesOfParts>
    <vt:vector size="15" baseType="lpstr">
      <vt:lpstr>ＭＳ Ｐゴシック</vt:lpstr>
      <vt:lpstr>Arial</vt:lpstr>
      <vt:lpstr>Calibri</vt:lpstr>
      <vt:lpstr>Office Theme</vt:lpstr>
      <vt:lpstr>12_Turkiye Bankasi_CF_TIB007</vt:lpstr>
      <vt:lpstr>3_Turkiye Bankasi_CF_TIB007</vt:lpstr>
      <vt:lpstr>2_Turkiye Bankasi_CF_TIB007</vt:lpstr>
      <vt:lpstr>15_Turkiye Bankasi_CF_TIB007</vt:lpstr>
      <vt:lpstr>think-cell Slide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han EROĞLU</dc:creator>
  <cp:lastModifiedBy>Damla ERHAN (Kurumsal Mimari ve ARGE)</cp:lastModifiedBy>
  <cp:revision>3014</cp:revision>
  <cp:lastPrinted>2019-01-10T11:20:37Z</cp:lastPrinted>
  <dcterms:created xsi:type="dcterms:W3CDTF">2012-11-23T07:24:52Z</dcterms:created>
  <dcterms:modified xsi:type="dcterms:W3CDTF">2023-07-14T08:29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DE9DE898099B47AD53ECDD9E193140</vt:lpwstr>
  </property>
</Properties>
</file>